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63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BB4DEF74-B135-0380-666E-4098A04845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414591"/>
              </p:ext>
            </p:extLst>
          </p:nvPr>
        </p:nvGraphicFramePr>
        <p:xfrm>
          <a:off x="748323" y="2398996"/>
          <a:ext cx="81280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1401178297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05536282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73733569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05689875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881822869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68626967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63485191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0508931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665268909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859382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61814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2344263"/>
                  </a:ext>
                </a:extLst>
              </a:tr>
              <a:tr h="200000">
                <a:tc>
                  <a:txBody>
                    <a:bodyPr/>
                    <a:lstStyle/>
                    <a:p>
                      <a:r>
                        <a:rPr lang="en-US" dirty="0"/>
                        <a:t>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/28/2022</a:t>
                      </a:r>
                    </a:p>
                  </a:txBody>
                  <a:tcPr/>
                </a:tc>
              </a:tr>
              <a:tr h="200000">
                <a:tc>
                  <a:txBody>
                    <a:bodyPr/>
                    <a:lstStyle/>
                    <a:p>
                      <a:r>
                        <a:rPr lang="en-US" dirty="0"/>
                        <a:t>A4 Pe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/28/2022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寬螢幕</PresentationFormat>
  <Paragraphs>1</Paragraphs>
  <Slides>1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愛麗絲 YEH</cp:lastModifiedBy>
  <cp:revision>4</cp:revision>
  <dcterms:created xsi:type="dcterms:W3CDTF">2021-12-15T12:38:22Z</dcterms:created>
  <dcterms:modified xsi:type="dcterms:W3CDTF">2022-09-28T15:05:06Z</dcterms:modified>
</cp:coreProperties>
</file>